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8" r:id="rId1"/>
  </p:sldMasterIdLst>
  <p:notesMasterIdLst>
    <p:notesMasterId r:id="rId12"/>
  </p:notesMasterIdLst>
  <p:handoutMasterIdLst>
    <p:handoutMasterId r:id="rId13"/>
  </p:handoutMasterIdLst>
  <p:sldIdLst>
    <p:sldId id="273" r:id="rId2"/>
    <p:sldId id="403" r:id="rId3"/>
    <p:sldId id="419" r:id="rId4"/>
    <p:sldId id="418" r:id="rId5"/>
    <p:sldId id="420" r:id="rId6"/>
    <p:sldId id="423" r:id="rId7"/>
    <p:sldId id="424" r:id="rId8"/>
    <p:sldId id="421" r:id="rId9"/>
    <p:sldId id="408" r:id="rId10"/>
    <p:sldId id="412" r:id="rId11"/>
  </p:sldIdLst>
  <p:sldSz cx="9906000" cy="6858000" type="A4"/>
  <p:notesSz cx="6797675" cy="9928225"/>
  <p:custDataLst>
    <p:tags r:id="rId14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sz="1200" b="1"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3F92"/>
    <a:srgbClr val="0B4993"/>
    <a:srgbClr val="663300"/>
    <a:srgbClr val="CC9900"/>
    <a:srgbClr val="660066"/>
    <a:srgbClr val="333333"/>
    <a:srgbClr val="5F5F5F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53" autoAdjust="0"/>
    <p:restoredTop sz="94245" autoAdjust="0"/>
  </p:normalViewPr>
  <p:slideViewPr>
    <p:cSldViewPr>
      <p:cViewPr varScale="1">
        <p:scale>
          <a:sx n="87" d="100"/>
          <a:sy n="87" d="100"/>
        </p:scale>
        <p:origin x="-1332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58F2A6-CB32-43DB-BDDB-5A582449C44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201EC4E-F97A-46F0-9754-538E36BF6A0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dirty="0">
            <a:solidFill>
              <a:schemeClr val="bg1"/>
            </a:solidFill>
            <a:latin typeface="Arial Narrow" panose="020B0606020202030204" pitchFamily="34" charset="0"/>
          </a:endParaRPr>
        </a:p>
      </dgm:t>
    </dgm:pt>
    <dgm:pt modelId="{A9415633-4EC5-45B3-83DC-1B9C15210429}" type="parTrans" cxnId="{86689FAD-70E4-4AAA-8CFE-D99D80CF2FED}">
      <dgm:prSet/>
      <dgm:spPr/>
      <dgm:t>
        <a:bodyPr/>
        <a:lstStyle/>
        <a:p>
          <a:endParaRPr lang="ru-RU"/>
        </a:p>
      </dgm:t>
    </dgm:pt>
    <dgm:pt modelId="{C14A6DBB-975C-47AD-974A-198D0A414399}" type="sibTrans" cxnId="{86689FAD-70E4-4AAA-8CFE-D99D80CF2FED}">
      <dgm:prSet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D1CE24A4-2646-40D3-B691-DC199EAABC19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ский, Красноярский</a:t>
          </a:r>
          <a:endParaRPr lang="ru-RU" dirty="0">
            <a:latin typeface="Arial Narrow" panose="020B0606020202030204" pitchFamily="34" charset="0"/>
          </a:endParaRPr>
        </a:p>
      </dgm:t>
    </dgm:pt>
    <dgm:pt modelId="{CFB7CD78-FB29-4721-9CF9-6A6FF389436B}" type="parTrans" cxnId="{24DF0292-7F58-4080-AA31-66004F4A2359}">
      <dgm:prSet/>
      <dgm:spPr/>
      <dgm:t>
        <a:bodyPr/>
        <a:lstStyle/>
        <a:p>
          <a:endParaRPr lang="ru-RU"/>
        </a:p>
      </dgm:t>
    </dgm:pt>
    <dgm:pt modelId="{592B36A5-9ABC-48A1-BC3E-61C55B2FD8F3}" type="sibTrans" cxnId="{24DF0292-7F58-4080-AA31-66004F4A2359}">
      <dgm:prSet/>
      <dgm:spPr/>
      <dgm:t>
        <a:bodyPr/>
        <a:lstStyle/>
        <a:p>
          <a:endParaRPr lang="ru-RU"/>
        </a:p>
      </dgm:t>
    </dgm:pt>
    <dgm:pt modelId="{DEE69DC5-D7C8-486E-BAEF-4EEF97123A88}">
      <dgm:prSet phldrT="[Текст]"/>
      <dgm:spPr>
        <a:solidFill>
          <a:schemeClr val="tx1">
            <a:lumMod val="75000"/>
            <a:lumOff val="25000"/>
          </a:schemeClr>
        </a:solidFill>
      </dgm:spPr>
      <dgm:t>
        <a:bodyPr/>
        <a:lstStyle/>
        <a:p>
          <a:r>
            <a:rPr lang="ru-RU" dirty="0" smtClean="0">
              <a:latin typeface="Arial Narrow" panose="020B0606020202030204" pitchFamily="34" charset="0"/>
            </a:rPr>
            <a:t>Алтай, САХА (Якутия)</a:t>
          </a:r>
          <a:endParaRPr lang="ru-RU" dirty="0">
            <a:latin typeface="Arial Narrow" panose="020B0606020202030204" pitchFamily="34" charset="0"/>
          </a:endParaRPr>
        </a:p>
      </dgm:t>
    </dgm:pt>
    <dgm:pt modelId="{7E3C3A39-50AE-4019-AB1F-89E27B081754}" type="parTrans" cxnId="{CDBBE783-CC5D-4AF3-96F9-697BCBD27FA4}">
      <dgm:prSet/>
      <dgm:spPr/>
      <dgm:t>
        <a:bodyPr/>
        <a:lstStyle/>
        <a:p>
          <a:endParaRPr lang="ru-RU"/>
        </a:p>
      </dgm:t>
    </dgm:pt>
    <dgm:pt modelId="{584C07AB-3CF1-4A4D-BBA3-E6F1DEA8AD9C}" type="sibTrans" cxnId="{CDBBE783-CC5D-4AF3-96F9-697BCBD27FA4}">
      <dgm:prSet/>
      <dgm:spPr/>
      <dgm:t>
        <a:bodyPr/>
        <a:lstStyle/>
        <a:p>
          <a:endParaRPr lang="ru-RU"/>
        </a:p>
      </dgm:t>
    </dgm:pt>
    <dgm:pt modelId="{152EF871-B3F8-4FD2-86C4-5ADB61C71E1E}" type="pres">
      <dgm:prSet presAssocID="{7F58F2A6-CB32-43DB-BDDB-5A582449C44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EB2AB790-BB84-43C3-9AE7-FAA64EFBEA24}" type="pres">
      <dgm:prSet presAssocID="{7F58F2A6-CB32-43DB-BDDB-5A582449C44C}" presName="Name1" presStyleCnt="0"/>
      <dgm:spPr/>
    </dgm:pt>
    <dgm:pt modelId="{7C62F8A3-ACEE-4BB6-9AE9-066B52F42795}" type="pres">
      <dgm:prSet presAssocID="{7F58F2A6-CB32-43DB-BDDB-5A582449C44C}" presName="cycle" presStyleCnt="0"/>
      <dgm:spPr/>
    </dgm:pt>
    <dgm:pt modelId="{450C8814-BFA0-4750-9D7D-D384B5B9D897}" type="pres">
      <dgm:prSet presAssocID="{7F58F2A6-CB32-43DB-BDDB-5A582449C44C}" presName="srcNode" presStyleLbl="node1" presStyleIdx="0" presStyleCnt="3"/>
      <dgm:spPr/>
    </dgm:pt>
    <dgm:pt modelId="{5DA254B6-231B-4BB7-B934-7776CB602AFC}" type="pres">
      <dgm:prSet presAssocID="{7F58F2A6-CB32-43DB-BDDB-5A582449C44C}" presName="conn" presStyleLbl="parChTrans1D2" presStyleIdx="0" presStyleCnt="1"/>
      <dgm:spPr/>
      <dgm:t>
        <a:bodyPr/>
        <a:lstStyle/>
        <a:p>
          <a:endParaRPr lang="ru-RU"/>
        </a:p>
      </dgm:t>
    </dgm:pt>
    <dgm:pt modelId="{058B2F9C-B07E-4965-90A4-D63D5A94CC7B}" type="pres">
      <dgm:prSet presAssocID="{7F58F2A6-CB32-43DB-BDDB-5A582449C44C}" presName="extraNode" presStyleLbl="node1" presStyleIdx="0" presStyleCnt="3"/>
      <dgm:spPr/>
    </dgm:pt>
    <dgm:pt modelId="{FFA1F88E-B2EA-464F-833B-A77857A66598}" type="pres">
      <dgm:prSet presAssocID="{7F58F2A6-CB32-43DB-BDDB-5A582449C44C}" presName="dstNode" presStyleLbl="node1" presStyleIdx="0" presStyleCnt="3"/>
      <dgm:spPr/>
    </dgm:pt>
    <dgm:pt modelId="{4B8C6841-AA1C-462C-9B56-D66C51FDFF9D}" type="pres">
      <dgm:prSet presAssocID="{2201EC4E-F97A-46F0-9754-538E36BF6A08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D47D91-FC36-4C42-BFFE-53B175B62431}" type="pres">
      <dgm:prSet presAssocID="{2201EC4E-F97A-46F0-9754-538E36BF6A08}" presName="accent_1" presStyleCnt="0"/>
      <dgm:spPr/>
    </dgm:pt>
    <dgm:pt modelId="{AAB07EBC-5AE9-4B96-B209-E58E53B2B8D0}" type="pres">
      <dgm:prSet presAssocID="{2201EC4E-F97A-46F0-9754-538E36BF6A08}" presName="accentRepeatNode" presStyleLbl="solidFgAcc1" presStyleIdx="0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A7970176-876F-4AC4-BB18-3C2A816C896B}" type="pres">
      <dgm:prSet presAssocID="{D1CE24A4-2646-40D3-B691-DC199EAABC19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008007-3A5F-4EFE-A68A-282BDE679C63}" type="pres">
      <dgm:prSet presAssocID="{D1CE24A4-2646-40D3-B691-DC199EAABC19}" presName="accent_2" presStyleCnt="0"/>
      <dgm:spPr/>
    </dgm:pt>
    <dgm:pt modelId="{3A5B624B-79B3-40B0-B511-341B40984C67}" type="pres">
      <dgm:prSet presAssocID="{D1CE24A4-2646-40D3-B691-DC199EAABC19}" presName="accentRepeatNode" presStyleLbl="solidFgAcc1" presStyleIdx="1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  <dgm:pt modelId="{E09E2F5F-D57C-4758-85ED-87CAC06DFB0C}" type="pres">
      <dgm:prSet presAssocID="{DEE69DC5-D7C8-486E-BAEF-4EEF97123A88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10BAFF8-B8E4-49C4-B647-1B27B455AC51}" type="pres">
      <dgm:prSet presAssocID="{DEE69DC5-D7C8-486E-BAEF-4EEF97123A88}" presName="accent_3" presStyleCnt="0"/>
      <dgm:spPr/>
    </dgm:pt>
    <dgm:pt modelId="{F369647A-E391-4DBD-831B-E219E7798D83}" type="pres">
      <dgm:prSet presAssocID="{DEE69DC5-D7C8-486E-BAEF-4EEF97123A88}" presName="accentRepeatNode" presStyleLbl="solidFgAcc1" presStyleIdx="2" presStyleCnt="3"/>
      <dgm:spPr>
        <a:ln>
          <a:solidFill>
            <a:schemeClr val="tx1">
              <a:lumMod val="90000"/>
              <a:lumOff val="10000"/>
            </a:schemeClr>
          </a:solidFill>
        </a:ln>
      </dgm:spPr>
      <dgm:t>
        <a:bodyPr/>
        <a:lstStyle/>
        <a:p>
          <a:endParaRPr lang="ru-RU"/>
        </a:p>
      </dgm:t>
    </dgm:pt>
  </dgm:ptLst>
  <dgm:cxnLst>
    <dgm:cxn modelId="{6463CC56-890C-4FA2-847C-35681FD11975}" type="presOf" srcId="{2201EC4E-F97A-46F0-9754-538E36BF6A08}" destId="{4B8C6841-AA1C-462C-9B56-D66C51FDFF9D}" srcOrd="0" destOrd="0" presId="urn:microsoft.com/office/officeart/2008/layout/VerticalCurvedList"/>
    <dgm:cxn modelId="{20426092-6626-47EE-BC13-6C7A2E5491DE}" type="presOf" srcId="{D1CE24A4-2646-40D3-B691-DC199EAABC19}" destId="{A7970176-876F-4AC4-BB18-3C2A816C896B}" srcOrd="0" destOrd="0" presId="urn:microsoft.com/office/officeart/2008/layout/VerticalCurvedList"/>
    <dgm:cxn modelId="{24DF0292-7F58-4080-AA31-66004F4A2359}" srcId="{7F58F2A6-CB32-43DB-BDDB-5A582449C44C}" destId="{D1CE24A4-2646-40D3-B691-DC199EAABC19}" srcOrd="1" destOrd="0" parTransId="{CFB7CD78-FB29-4721-9CF9-6A6FF389436B}" sibTransId="{592B36A5-9ABC-48A1-BC3E-61C55B2FD8F3}"/>
    <dgm:cxn modelId="{86689FAD-70E4-4AAA-8CFE-D99D80CF2FED}" srcId="{7F58F2A6-CB32-43DB-BDDB-5A582449C44C}" destId="{2201EC4E-F97A-46F0-9754-538E36BF6A08}" srcOrd="0" destOrd="0" parTransId="{A9415633-4EC5-45B3-83DC-1B9C15210429}" sibTransId="{C14A6DBB-975C-47AD-974A-198D0A414399}"/>
    <dgm:cxn modelId="{13A0D601-6379-4E73-809E-9E6624AD489A}" type="presOf" srcId="{DEE69DC5-D7C8-486E-BAEF-4EEF97123A88}" destId="{E09E2F5F-D57C-4758-85ED-87CAC06DFB0C}" srcOrd="0" destOrd="0" presId="urn:microsoft.com/office/officeart/2008/layout/VerticalCurvedList"/>
    <dgm:cxn modelId="{CDBBE783-CC5D-4AF3-96F9-697BCBD27FA4}" srcId="{7F58F2A6-CB32-43DB-BDDB-5A582449C44C}" destId="{DEE69DC5-D7C8-486E-BAEF-4EEF97123A88}" srcOrd="2" destOrd="0" parTransId="{7E3C3A39-50AE-4019-AB1F-89E27B081754}" sibTransId="{584C07AB-3CF1-4A4D-BBA3-E6F1DEA8AD9C}"/>
    <dgm:cxn modelId="{93D94E3D-703F-4E01-BD8F-3B24A5E6D875}" type="presOf" srcId="{7F58F2A6-CB32-43DB-BDDB-5A582449C44C}" destId="{152EF871-B3F8-4FD2-86C4-5ADB61C71E1E}" srcOrd="0" destOrd="0" presId="urn:microsoft.com/office/officeart/2008/layout/VerticalCurvedList"/>
    <dgm:cxn modelId="{75C7271E-B8D6-4500-A3DA-DEB4AE2C915C}" type="presOf" srcId="{C14A6DBB-975C-47AD-974A-198D0A414399}" destId="{5DA254B6-231B-4BB7-B934-7776CB602AFC}" srcOrd="0" destOrd="0" presId="urn:microsoft.com/office/officeart/2008/layout/VerticalCurvedList"/>
    <dgm:cxn modelId="{6A6649BB-CE20-4FBD-960A-4BBE770FD283}" type="presParOf" srcId="{152EF871-B3F8-4FD2-86C4-5ADB61C71E1E}" destId="{EB2AB790-BB84-43C3-9AE7-FAA64EFBEA24}" srcOrd="0" destOrd="0" presId="urn:microsoft.com/office/officeart/2008/layout/VerticalCurvedList"/>
    <dgm:cxn modelId="{C42FFACD-011C-40C2-BD1F-AA74B6B2C9DF}" type="presParOf" srcId="{EB2AB790-BB84-43C3-9AE7-FAA64EFBEA24}" destId="{7C62F8A3-ACEE-4BB6-9AE9-066B52F42795}" srcOrd="0" destOrd="0" presId="urn:microsoft.com/office/officeart/2008/layout/VerticalCurvedList"/>
    <dgm:cxn modelId="{54294EF9-EE63-4CCA-BBD7-8BCE1C6DE0E6}" type="presParOf" srcId="{7C62F8A3-ACEE-4BB6-9AE9-066B52F42795}" destId="{450C8814-BFA0-4750-9D7D-D384B5B9D897}" srcOrd="0" destOrd="0" presId="urn:microsoft.com/office/officeart/2008/layout/VerticalCurvedList"/>
    <dgm:cxn modelId="{CEC926F4-5C65-4B27-830A-20A6268D9E21}" type="presParOf" srcId="{7C62F8A3-ACEE-4BB6-9AE9-066B52F42795}" destId="{5DA254B6-231B-4BB7-B934-7776CB602AFC}" srcOrd="1" destOrd="0" presId="urn:microsoft.com/office/officeart/2008/layout/VerticalCurvedList"/>
    <dgm:cxn modelId="{39811F0B-4859-4BB5-B4E8-CA0E3FE821C1}" type="presParOf" srcId="{7C62F8A3-ACEE-4BB6-9AE9-066B52F42795}" destId="{058B2F9C-B07E-4965-90A4-D63D5A94CC7B}" srcOrd="2" destOrd="0" presId="urn:microsoft.com/office/officeart/2008/layout/VerticalCurvedList"/>
    <dgm:cxn modelId="{D82F0383-5562-4EB6-96BA-968709775553}" type="presParOf" srcId="{7C62F8A3-ACEE-4BB6-9AE9-066B52F42795}" destId="{FFA1F88E-B2EA-464F-833B-A77857A66598}" srcOrd="3" destOrd="0" presId="urn:microsoft.com/office/officeart/2008/layout/VerticalCurvedList"/>
    <dgm:cxn modelId="{3F539130-60A6-4A28-B439-53089F0CD730}" type="presParOf" srcId="{EB2AB790-BB84-43C3-9AE7-FAA64EFBEA24}" destId="{4B8C6841-AA1C-462C-9B56-D66C51FDFF9D}" srcOrd="1" destOrd="0" presId="urn:microsoft.com/office/officeart/2008/layout/VerticalCurvedList"/>
    <dgm:cxn modelId="{7471F621-BA7F-4106-A6FD-91D4046941C2}" type="presParOf" srcId="{EB2AB790-BB84-43C3-9AE7-FAA64EFBEA24}" destId="{2DD47D91-FC36-4C42-BFFE-53B175B62431}" srcOrd="2" destOrd="0" presId="urn:microsoft.com/office/officeart/2008/layout/VerticalCurvedList"/>
    <dgm:cxn modelId="{F53A6735-71BD-4163-93B5-A30C372222AD}" type="presParOf" srcId="{2DD47D91-FC36-4C42-BFFE-53B175B62431}" destId="{AAB07EBC-5AE9-4B96-B209-E58E53B2B8D0}" srcOrd="0" destOrd="0" presId="urn:microsoft.com/office/officeart/2008/layout/VerticalCurvedList"/>
    <dgm:cxn modelId="{01FA513D-53E3-4E7A-A283-A0336D71E7CA}" type="presParOf" srcId="{EB2AB790-BB84-43C3-9AE7-FAA64EFBEA24}" destId="{A7970176-876F-4AC4-BB18-3C2A816C896B}" srcOrd="3" destOrd="0" presId="urn:microsoft.com/office/officeart/2008/layout/VerticalCurvedList"/>
    <dgm:cxn modelId="{641C6F18-06CE-4C84-96F9-00F0BEC9AE15}" type="presParOf" srcId="{EB2AB790-BB84-43C3-9AE7-FAA64EFBEA24}" destId="{F3008007-3A5F-4EFE-A68A-282BDE679C63}" srcOrd="4" destOrd="0" presId="urn:microsoft.com/office/officeart/2008/layout/VerticalCurvedList"/>
    <dgm:cxn modelId="{771EB0D5-9499-45B0-B73C-3784D69D874D}" type="presParOf" srcId="{F3008007-3A5F-4EFE-A68A-282BDE679C63}" destId="{3A5B624B-79B3-40B0-B511-341B40984C67}" srcOrd="0" destOrd="0" presId="urn:microsoft.com/office/officeart/2008/layout/VerticalCurvedList"/>
    <dgm:cxn modelId="{EF687CB5-7E79-4FEC-8684-25F3240834D9}" type="presParOf" srcId="{EB2AB790-BB84-43C3-9AE7-FAA64EFBEA24}" destId="{E09E2F5F-D57C-4758-85ED-87CAC06DFB0C}" srcOrd="5" destOrd="0" presId="urn:microsoft.com/office/officeart/2008/layout/VerticalCurvedList"/>
    <dgm:cxn modelId="{31911AF4-2E1B-4DDC-A554-991F1AF7A903}" type="presParOf" srcId="{EB2AB790-BB84-43C3-9AE7-FAA64EFBEA24}" destId="{310BAFF8-B8E4-49C4-B647-1B27B455AC51}" srcOrd="6" destOrd="0" presId="urn:microsoft.com/office/officeart/2008/layout/VerticalCurvedList"/>
    <dgm:cxn modelId="{122E4B2C-ACF2-4FF7-91C9-427A5C5A043B}" type="presParOf" srcId="{310BAFF8-B8E4-49C4-B647-1B27B455AC51}" destId="{F369647A-E391-4DBD-831B-E219E7798D8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AB2D8C-C5BA-48A8-976E-F2F0855F0357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53B8A6BE-AF84-44F8-968B-D349F4DE8539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3BBE9A3-8D70-4B21-8F33-D0279A2CC411}" type="par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D6599EC-EA12-40C3-8AC5-91D01B1D0643}" type="sibTrans" cxnId="{50A616BF-44B4-486F-BBD7-D76333ACEAF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DD35E56-FE48-4584-887C-FDB35B16B2E0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B7B875-CA48-4DC1-9D95-02D9ADB0D3CB}" type="par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93907D9-8460-4983-B560-2868E7487675}" type="sibTrans" cxnId="{9EB2FECC-0156-432D-AB07-3F9658CEAE61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AFDD33-A6FF-4110-B52B-2D1506DC311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D61EA89-A894-4BD8-B751-94C4160A881C}" type="par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21A386-ABFB-41B9-A3FE-BA2BD7E5BE91}" type="sibTrans" cxnId="{3830DF6C-AC68-4E00-9CF4-B3CA04472BB0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50FBEBE-C9C6-4318-9F4C-D6351F30D722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gm:t>
    </dgm:pt>
    <dgm:pt modelId="{2E6F5369-C54E-435D-89E4-F75155384926}" type="par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447F2C7-8855-4B88-947C-D3320B949B96}" type="sibTrans" cxnId="{E8E36C7D-EF86-419F-A2D2-279B08356F4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FFD036C-7919-4912-A6A1-EE916E672C4B}">
      <dgm:prSet custT="1"/>
      <dgm:spPr>
        <a:ln>
          <a:solidFill>
            <a:srgbClr val="153943"/>
          </a:solidFill>
        </a:ln>
      </dgm:spPr>
      <dgm:t>
        <a:bodyPr/>
        <a:lstStyle/>
        <a:p>
          <a:r>
            <a: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gm:t>
    </dgm:pt>
    <dgm:pt modelId="{CE387C35-5553-4FDB-8DAE-64F33703662A}" type="par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97F9497-D86C-4C69-8C60-ABF58F05361D}" type="sibTrans" cxnId="{063A350A-67DD-4D52-981A-CA4100F83415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F9D6FC3-F6E6-4310-9AA8-2FCA3480399D}" type="pres">
      <dgm:prSet presAssocID="{78AB2D8C-C5BA-48A8-976E-F2F0855F0357}" presName="compositeShape" presStyleCnt="0">
        <dgm:presLayoutVars>
          <dgm:dir/>
          <dgm:resizeHandles/>
        </dgm:presLayoutVars>
      </dgm:prSet>
      <dgm:spPr/>
    </dgm:pt>
    <dgm:pt modelId="{B71204E1-F3E8-49D5-84D1-0F546DB5E629}" type="pres">
      <dgm:prSet presAssocID="{78AB2D8C-C5BA-48A8-976E-F2F0855F0357}" presName="pyramid" presStyleLbl="node1" presStyleIdx="0" presStyleCnt="1" custLinFactNeighborX="-4913" custLinFactNeighborY="40"/>
      <dgm:spPr>
        <a:solidFill>
          <a:schemeClr val="accent5">
            <a:lumMod val="60000"/>
            <a:lumOff val="40000"/>
          </a:schemeClr>
        </a:solidFill>
        <a:ln w="38100">
          <a:solidFill>
            <a:schemeClr val="tx2">
              <a:lumMod val="50000"/>
            </a:schemeClr>
          </a:solidFill>
        </a:ln>
      </dgm:spPr>
    </dgm:pt>
    <dgm:pt modelId="{1386CFB7-D68A-4321-ACF7-8ACD3A721F41}" type="pres">
      <dgm:prSet presAssocID="{78AB2D8C-C5BA-48A8-976E-F2F0855F0357}" presName="theList" presStyleCnt="0"/>
      <dgm:spPr/>
    </dgm:pt>
    <dgm:pt modelId="{AAFBD200-1031-4056-8E9D-5818D5005CDD}" type="pres">
      <dgm:prSet presAssocID="{53B8A6BE-AF84-44F8-968B-D349F4DE8539}" presName="aNode" presStyleLbl="fgAcc1" presStyleIdx="0" presStyleCnt="5" custScaleY="164998" custLinFactY="-49689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5B5F2B-F7B8-43C5-90A8-92B90D5A9EBF}" type="pres">
      <dgm:prSet presAssocID="{53B8A6BE-AF84-44F8-968B-D349F4DE8539}" presName="aSpace" presStyleCnt="0"/>
      <dgm:spPr/>
    </dgm:pt>
    <dgm:pt modelId="{AD818983-2EA7-465F-A3DA-0E4DD5C9F405}" type="pres">
      <dgm:prSet presAssocID="{4DD35E56-FE48-4584-887C-FDB35B16B2E0}" presName="aNode" presStyleLbl="fgAcc1" presStyleIdx="1" presStyleCnt="5" custLinFactY="-1858" custLinFactNeighborX="544" custLinFactNeighborY="-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C2B334-77E9-41A2-88F4-18BD7E472D69}" type="pres">
      <dgm:prSet presAssocID="{4DD35E56-FE48-4584-887C-FDB35B16B2E0}" presName="aSpace" presStyleCnt="0"/>
      <dgm:spPr/>
    </dgm:pt>
    <dgm:pt modelId="{8BC39978-FFE0-4ABB-A5CB-4A964FE0C7DB}" type="pres">
      <dgm:prSet presAssocID="{EAAFDD33-A6FF-4110-B52B-2D1506DC311B}" presName="aNode" presStyleLbl="fgAcc1" presStyleIdx="2" presStyleCnt="5" custScaleY="448327" custLinFactY="10666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7C6C0-F0E6-4A56-9426-2F11C4D86822}" type="pres">
      <dgm:prSet presAssocID="{EAAFDD33-A6FF-4110-B52B-2D1506DC311B}" presName="aSpace" presStyleCnt="0"/>
      <dgm:spPr/>
    </dgm:pt>
    <dgm:pt modelId="{506BA12F-3C4B-4E1E-BB70-E7C03E3B0D07}" type="pres">
      <dgm:prSet presAssocID="{BFFD036C-7919-4912-A6A1-EE916E672C4B}" presName="aNode" presStyleLbl="fgAcc1" presStyleIdx="3" presStyleCnt="5" custScaleY="400715" custLinFactY="54149" custLinFactNeighborX="544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264793-699B-4767-8AB0-CF75136CC405}" type="pres">
      <dgm:prSet presAssocID="{BFFD036C-7919-4912-A6A1-EE916E672C4B}" presName="aSpace" presStyleCnt="0"/>
      <dgm:spPr/>
    </dgm:pt>
    <dgm:pt modelId="{52A96307-52FA-4101-A0C6-C51AA1741E7B}" type="pres">
      <dgm:prSet presAssocID="{850FBEBE-C9C6-4318-9F4C-D6351F30D722}" presName="aNode" presStyleLbl="fgAcc1" presStyleIdx="4" presStyleCnt="5" custScaleY="199887" custLinFactY="100000" custLinFactNeighborX="544" custLinFactNeighborY="15288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6387CB0-1C91-4263-A3BF-CE87F02E90E9}" type="pres">
      <dgm:prSet presAssocID="{850FBEBE-C9C6-4318-9F4C-D6351F30D722}" presName="aSpace" presStyleCnt="0"/>
      <dgm:spPr/>
    </dgm:pt>
  </dgm:ptLst>
  <dgm:cxnLst>
    <dgm:cxn modelId="{063A350A-67DD-4D52-981A-CA4100F83415}" srcId="{78AB2D8C-C5BA-48A8-976E-F2F0855F0357}" destId="{BFFD036C-7919-4912-A6A1-EE916E672C4B}" srcOrd="3" destOrd="0" parTransId="{CE387C35-5553-4FDB-8DAE-64F33703662A}" sibTransId="{997F9497-D86C-4C69-8C60-ABF58F05361D}"/>
    <dgm:cxn modelId="{3C682389-12C8-4429-BE25-9A593E88A226}" type="presOf" srcId="{EAAFDD33-A6FF-4110-B52B-2D1506DC311B}" destId="{8BC39978-FFE0-4ABB-A5CB-4A964FE0C7DB}" srcOrd="0" destOrd="0" presId="urn:microsoft.com/office/officeart/2005/8/layout/pyramid2"/>
    <dgm:cxn modelId="{9EB2FECC-0156-432D-AB07-3F9658CEAE61}" srcId="{78AB2D8C-C5BA-48A8-976E-F2F0855F0357}" destId="{4DD35E56-FE48-4584-887C-FDB35B16B2E0}" srcOrd="1" destOrd="0" parTransId="{E3B7B875-CA48-4DC1-9D95-02D9ADB0D3CB}" sibTransId="{C93907D9-8460-4983-B560-2868E7487675}"/>
    <dgm:cxn modelId="{3830DF6C-AC68-4E00-9CF4-B3CA04472BB0}" srcId="{78AB2D8C-C5BA-48A8-976E-F2F0855F0357}" destId="{EAAFDD33-A6FF-4110-B52B-2D1506DC311B}" srcOrd="2" destOrd="0" parTransId="{9D61EA89-A894-4BD8-B751-94C4160A881C}" sibTransId="{D021A386-ABFB-41B9-A3FE-BA2BD7E5BE91}"/>
    <dgm:cxn modelId="{6034A582-7E6E-4F9F-BF7D-C29C96EFB324}" type="presOf" srcId="{53B8A6BE-AF84-44F8-968B-D349F4DE8539}" destId="{AAFBD200-1031-4056-8E9D-5818D5005CDD}" srcOrd="0" destOrd="0" presId="urn:microsoft.com/office/officeart/2005/8/layout/pyramid2"/>
    <dgm:cxn modelId="{C5B1F32D-EABF-40AB-9A15-7FD4BAEF6281}" type="presOf" srcId="{78AB2D8C-C5BA-48A8-976E-F2F0855F0357}" destId="{2F9D6FC3-F6E6-4310-9AA8-2FCA3480399D}" srcOrd="0" destOrd="0" presId="urn:microsoft.com/office/officeart/2005/8/layout/pyramid2"/>
    <dgm:cxn modelId="{209DD321-CA02-42D2-B53F-DC7C90F8F7A1}" type="presOf" srcId="{BFFD036C-7919-4912-A6A1-EE916E672C4B}" destId="{506BA12F-3C4B-4E1E-BB70-E7C03E3B0D07}" srcOrd="0" destOrd="0" presId="urn:microsoft.com/office/officeart/2005/8/layout/pyramid2"/>
    <dgm:cxn modelId="{FD811A2C-86F2-4E25-97BA-9D47AFA2763C}" type="presOf" srcId="{850FBEBE-C9C6-4318-9F4C-D6351F30D722}" destId="{52A96307-52FA-4101-A0C6-C51AA1741E7B}" srcOrd="0" destOrd="0" presId="urn:microsoft.com/office/officeart/2005/8/layout/pyramid2"/>
    <dgm:cxn modelId="{E8E36C7D-EF86-419F-A2D2-279B08356F44}" srcId="{78AB2D8C-C5BA-48A8-976E-F2F0855F0357}" destId="{850FBEBE-C9C6-4318-9F4C-D6351F30D722}" srcOrd="4" destOrd="0" parTransId="{2E6F5369-C54E-435D-89E4-F75155384926}" sibTransId="{B447F2C7-8855-4B88-947C-D3320B949B96}"/>
    <dgm:cxn modelId="{50554707-F639-498E-9A1D-17111B584C84}" type="presOf" srcId="{4DD35E56-FE48-4584-887C-FDB35B16B2E0}" destId="{AD818983-2EA7-465F-A3DA-0E4DD5C9F405}" srcOrd="0" destOrd="0" presId="urn:microsoft.com/office/officeart/2005/8/layout/pyramid2"/>
    <dgm:cxn modelId="{50A616BF-44B4-486F-BBD7-D76333ACEAF4}" srcId="{78AB2D8C-C5BA-48A8-976E-F2F0855F0357}" destId="{53B8A6BE-AF84-44F8-968B-D349F4DE8539}" srcOrd="0" destOrd="0" parTransId="{C3BBE9A3-8D70-4B21-8F33-D0279A2CC411}" sibTransId="{ED6599EC-EA12-40C3-8AC5-91D01B1D0643}"/>
    <dgm:cxn modelId="{338CB797-31E5-46E2-8369-09D28495E7C9}" type="presParOf" srcId="{2F9D6FC3-F6E6-4310-9AA8-2FCA3480399D}" destId="{B71204E1-F3E8-49D5-84D1-0F546DB5E629}" srcOrd="0" destOrd="0" presId="urn:microsoft.com/office/officeart/2005/8/layout/pyramid2"/>
    <dgm:cxn modelId="{B9E70458-087C-4013-809B-60E1A71472D0}" type="presParOf" srcId="{2F9D6FC3-F6E6-4310-9AA8-2FCA3480399D}" destId="{1386CFB7-D68A-4321-ACF7-8ACD3A721F41}" srcOrd="1" destOrd="0" presId="urn:microsoft.com/office/officeart/2005/8/layout/pyramid2"/>
    <dgm:cxn modelId="{0D2FA1B4-6FDB-4D27-A1A8-AAF91BCCF9BF}" type="presParOf" srcId="{1386CFB7-D68A-4321-ACF7-8ACD3A721F41}" destId="{AAFBD200-1031-4056-8E9D-5818D5005CDD}" srcOrd="0" destOrd="0" presId="urn:microsoft.com/office/officeart/2005/8/layout/pyramid2"/>
    <dgm:cxn modelId="{D8071DE4-9EFF-4C4C-B59A-26698CC40BB4}" type="presParOf" srcId="{1386CFB7-D68A-4321-ACF7-8ACD3A721F41}" destId="{D85B5F2B-F7B8-43C5-90A8-92B90D5A9EBF}" srcOrd="1" destOrd="0" presId="urn:microsoft.com/office/officeart/2005/8/layout/pyramid2"/>
    <dgm:cxn modelId="{0457A542-6E97-4E96-B535-F749315DACF4}" type="presParOf" srcId="{1386CFB7-D68A-4321-ACF7-8ACD3A721F41}" destId="{AD818983-2EA7-465F-A3DA-0E4DD5C9F405}" srcOrd="2" destOrd="0" presId="urn:microsoft.com/office/officeart/2005/8/layout/pyramid2"/>
    <dgm:cxn modelId="{2F2622E9-A991-4841-AACE-C1880666214F}" type="presParOf" srcId="{1386CFB7-D68A-4321-ACF7-8ACD3A721F41}" destId="{C2C2B334-77E9-41A2-88F4-18BD7E472D69}" srcOrd="3" destOrd="0" presId="urn:microsoft.com/office/officeart/2005/8/layout/pyramid2"/>
    <dgm:cxn modelId="{C934A13F-AD36-4BE1-BE5D-270BA7C0B684}" type="presParOf" srcId="{1386CFB7-D68A-4321-ACF7-8ACD3A721F41}" destId="{8BC39978-FFE0-4ABB-A5CB-4A964FE0C7DB}" srcOrd="4" destOrd="0" presId="urn:microsoft.com/office/officeart/2005/8/layout/pyramid2"/>
    <dgm:cxn modelId="{73F69EC5-466C-4CFA-9AF6-CCB0A82A5ED7}" type="presParOf" srcId="{1386CFB7-D68A-4321-ACF7-8ACD3A721F41}" destId="{2787C6C0-F0E6-4A56-9426-2F11C4D86822}" srcOrd="5" destOrd="0" presId="urn:microsoft.com/office/officeart/2005/8/layout/pyramid2"/>
    <dgm:cxn modelId="{2B208830-6E3C-4245-8C3B-4FD5BA965AB4}" type="presParOf" srcId="{1386CFB7-D68A-4321-ACF7-8ACD3A721F41}" destId="{506BA12F-3C4B-4E1E-BB70-E7C03E3B0D07}" srcOrd="6" destOrd="0" presId="urn:microsoft.com/office/officeart/2005/8/layout/pyramid2"/>
    <dgm:cxn modelId="{0F7D4588-884A-46E0-820E-AFC676AEFDAF}" type="presParOf" srcId="{1386CFB7-D68A-4321-ACF7-8ACD3A721F41}" destId="{BC264793-699B-4767-8AB0-CF75136CC405}" srcOrd="7" destOrd="0" presId="urn:microsoft.com/office/officeart/2005/8/layout/pyramid2"/>
    <dgm:cxn modelId="{37315B4B-885E-458A-9956-BDFE2030353E}" type="presParOf" srcId="{1386CFB7-D68A-4321-ACF7-8ACD3A721F41}" destId="{52A96307-52FA-4101-A0C6-C51AA1741E7B}" srcOrd="8" destOrd="0" presId="urn:microsoft.com/office/officeart/2005/8/layout/pyramid2"/>
    <dgm:cxn modelId="{E2E5C869-F11D-4233-ACE0-775A2FE4929A}" type="presParOf" srcId="{1386CFB7-D68A-4321-ACF7-8ACD3A721F41}" destId="{86387CB0-1C91-4263-A3BF-CE87F02E90E9}" srcOrd="9" destOrd="0" presId="urn:microsoft.com/office/officeart/2005/8/layout/pyramid2"/>
  </dgm:cxnLst>
  <dgm:bg>
    <a:noFill/>
  </dgm:bg>
  <dgm:whole>
    <a:ln>
      <a:noFill/>
    </a:ln>
  </dgm:whole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A254B6-231B-4BB7-B934-7776CB602AFC}">
      <dsp:nvSpPr>
        <dsp:cNvPr id="0" name=""/>
        <dsp:cNvSpPr/>
      </dsp:nvSpPr>
      <dsp:spPr>
        <a:xfrm>
          <a:off x="-2851499" y="-439450"/>
          <a:ext cx="3402452" cy="3402452"/>
        </a:xfrm>
        <a:prstGeom prst="blockArc">
          <a:avLst>
            <a:gd name="adj1" fmla="val 18900000"/>
            <a:gd name="adj2" fmla="val 2700000"/>
            <a:gd name="adj3" fmla="val 635"/>
          </a:avLst>
        </a:prstGeom>
        <a:noFill/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8C6841-AA1C-462C-9B56-D66C51FDFF9D}">
      <dsp:nvSpPr>
        <dsp:cNvPr id="0" name=""/>
        <dsp:cNvSpPr/>
      </dsp:nvSpPr>
      <dsp:spPr>
        <a:xfrm>
          <a:off x="354237" y="25235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Arial Narrow" panose="020B0606020202030204" pitchFamily="34" charset="0"/>
            </a:rPr>
            <a:t>Кемеровская, Новосибирская, Томская, Омская, Амурская, Иркутская, Тюменская     </a:t>
          </a:r>
          <a:endParaRPr lang="ru-RU" sz="1400" kern="1200" dirty="0">
            <a:solidFill>
              <a:schemeClr val="bg1"/>
            </a:solidFill>
            <a:latin typeface="Arial Narrow" panose="020B0606020202030204" pitchFamily="34" charset="0"/>
          </a:endParaRPr>
        </a:p>
      </dsp:txBody>
      <dsp:txXfrm>
        <a:off x="354237" y="252355"/>
        <a:ext cx="3392098" cy="504710"/>
      </dsp:txXfrm>
    </dsp:sp>
    <dsp:sp modelId="{AAB07EBC-5AE9-4B96-B209-E58E53B2B8D0}">
      <dsp:nvSpPr>
        <dsp:cNvPr id="0" name=""/>
        <dsp:cNvSpPr/>
      </dsp:nvSpPr>
      <dsp:spPr>
        <a:xfrm>
          <a:off x="38793" y="18926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970176-876F-4AC4-BB18-3C2A816C896B}">
      <dsp:nvSpPr>
        <dsp:cNvPr id="0" name=""/>
        <dsp:cNvSpPr/>
      </dsp:nvSpPr>
      <dsp:spPr>
        <a:xfrm>
          <a:off x="537699" y="1009420"/>
          <a:ext cx="3208635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ский, Красноярский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537699" y="1009420"/>
        <a:ext cx="3208635" cy="504710"/>
      </dsp:txXfrm>
    </dsp:sp>
    <dsp:sp modelId="{3A5B624B-79B3-40B0-B511-341B40984C67}">
      <dsp:nvSpPr>
        <dsp:cNvPr id="0" name=""/>
        <dsp:cNvSpPr/>
      </dsp:nvSpPr>
      <dsp:spPr>
        <a:xfrm>
          <a:off x="222255" y="946331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9E2F5F-D57C-4758-85ED-87CAC06DFB0C}">
      <dsp:nvSpPr>
        <dsp:cNvPr id="0" name=""/>
        <dsp:cNvSpPr/>
      </dsp:nvSpPr>
      <dsp:spPr>
        <a:xfrm>
          <a:off x="354237" y="1766485"/>
          <a:ext cx="3392098" cy="504710"/>
        </a:xfrm>
        <a:prstGeom prst="rect">
          <a:avLst/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614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Arial Narrow" panose="020B0606020202030204" pitchFamily="34" charset="0"/>
            </a:rPr>
            <a:t>Алтай, САХА (Якутия)</a:t>
          </a:r>
          <a:endParaRPr lang="ru-RU" sz="1400" kern="1200" dirty="0">
            <a:latin typeface="Arial Narrow" panose="020B0606020202030204" pitchFamily="34" charset="0"/>
          </a:endParaRPr>
        </a:p>
      </dsp:txBody>
      <dsp:txXfrm>
        <a:off x="354237" y="1766485"/>
        <a:ext cx="3392098" cy="504710"/>
      </dsp:txXfrm>
    </dsp:sp>
    <dsp:sp modelId="{F369647A-E391-4DBD-831B-E219E7798D83}">
      <dsp:nvSpPr>
        <dsp:cNvPr id="0" name=""/>
        <dsp:cNvSpPr/>
      </dsp:nvSpPr>
      <dsp:spPr>
        <a:xfrm>
          <a:off x="38793" y="1703396"/>
          <a:ext cx="630887" cy="630887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tx1">
              <a:lumMod val="90000"/>
              <a:lumOff val="1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1204E1-F3E8-49D5-84D1-0F546DB5E629}">
      <dsp:nvSpPr>
        <dsp:cNvPr id="0" name=""/>
        <dsp:cNvSpPr/>
      </dsp:nvSpPr>
      <dsp:spPr>
        <a:xfrm>
          <a:off x="111895" y="0"/>
          <a:ext cx="5087240" cy="5087240"/>
        </a:xfrm>
        <a:prstGeom prst="triangle">
          <a:avLst/>
        </a:prstGeom>
        <a:solidFill>
          <a:schemeClr val="accent5">
            <a:lumMod val="60000"/>
            <a:lumOff val="40000"/>
          </a:schemeClr>
        </a:solidFill>
        <a:ln w="38100" cap="flat" cmpd="sng" algn="ctr">
          <a:solidFill>
            <a:schemeClr val="tx2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AFBD200-1031-4056-8E9D-5818D5005CDD}">
      <dsp:nvSpPr>
        <dsp:cNvPr id="0" name=""/>
        <dsp:cNvSpPr/>
      </dsp:nvSpPr>
      <dsp:spPr>
        <a:xfrm>
          <a:off x="2923440" y="325456"/>
          <a:ext cx="3306706" cy="48772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обсуждение проблемных вопрос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47249" y="349265"/>
        <a:ext cx="3259088" cy="440110"/>
      </dsp:txXfrm>
    </dsp:sp>
    <dsp:sp modelId="{AD818983-2EA7-465F-A3DA-0E4DD5C9F405}">
      <dsp:nvSpPr>
        <dsp:cNvPr id="0" name=""/>
        <dsp:cNvSpPr/>
      </dsp:nvSpPr>
      <dsp:spPr>
        <a:xfrm>
          <a:off x="2923440" y="991521"/>
          <a:ext cx="3306706" cy="295596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счерпывающие ответы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37870" y="1005951"/>
        <a:ext cx="3277846" cy="266736"/>
      </dsp:txXfrm>
    </dsp:sp>
    <dsp:sp modelId="{8BC39978-FFE0-4ABB-A5CB-4A964FE0C7DB}">
      <dsp:nvSpPr>
        <dsp:cNvPr id="0" name=""/>
        <dsp:cNvSpPr/>
      </dsp:nvSpPr>
      <dsp:spPr>
        <a:xfrm>
          <a:off x="2923440" y="1434986"/>
          <a:ext cx="3306706" cy="132523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информация о результатах контрольно-надзорной деятельности по завершению отчетных периодов</a:t>
          </a:r>
          <a:endParaRPr lang="ru-R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988133" y="1499679"/>
        <a:ext cx="3177320" cy="1195852"/>
      </dsp:txXfrm>
    </dsp:sp>
    <dsp:sp modelId="{506BA12F-3C4B-4E1E-BB70-E7C03E3B0D07}">
      <dsp:nvSpPr>
        <dsp:cNvPr id="0" name=""/>
        <dsp:cNvSpPr/>
      </dsp:nvSpPr>
      <dsp:spPr>
        <a:xfrm>
          <a:off x="2923440" y="2925709"/>
          <a:ext cx="3306706" cy="118449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анализ поднадзорными организациями  результатов проверок аналогичных объектов </a:t>
          </a:r>
        </a:p>
      </dsp:txBody>
      <dsp:txXfrm>
        <a:off x="2981262" y="2983531"/>
        <a:ext cx="3191062" cy="1068855"/>
      </dsp:txXfrm>
    </dsp:sp>
    <dsp:sp modelId="{52A96307-52FA-4101-A0C6-C51AA1741E7B}">
      <dsp:nvSpPr>
        <dsp:cNvPr id="0" name=""/>
        <dsp:cNvSpPr/>
      </dsp:nvSpPr>
      <dsp:spPr>
        <a:xfrm>
          <a:off x="2923440" y="4302233"/>
          <a:ext cx="3306706" cy="590858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15394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вышение уровня безопасности</a:t>
          </a:r>
        </a:p>
      </dsp:txBody>
      <dsp:txXfrm>
        <a:off x="2952283" y="4331076"/>
        <a:ext cx="3249020" cy="5331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09091DC9-20DA-4F5F-8AF0-660CA5BA97CC}" type="datetimeFigureOut">
              <a:rPr lang="ru-RU"/>
              <a:pPr>
                <a:defRPr/>
              </a:pPr>
              <a:t>29.06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AC69847F-BC6D-415A-AB81-28E2AF0142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525399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4322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3851276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8FF5D2E2-43B2-4BBD-B40E-45E46A5417D4}" type="datetimeFigureOut">
              <a:rPr lang="ru-RU"/>
              <a:pPr>
                <a:defRPr/>
              </a:pPr>
              <a:t>29.06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2950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677863" y="4714875"/>
            <a:ext cx="5441950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1" y="9431338"/>
            <a:ext cx="2943225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3851276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45" tIns="47773" rIns="95545" bIns="47773" numCol="1" anchor="b" anchorCtr="0" compatLnSpc="1">
            <a:prstTxWarp prst="textNoShape">
              <a:avLst/>
            </a:prstTxWarp>
          </a:bodyPr>
          <a:lstStyle>
            <a:lvl1pPr algn="r" defTabSz="955558">
              <a:defRPr sz="1300" b="0">
                <a:latin typeface="Calibri" pitchFamily="34" charset="0"/>
              </a:defRPr>
            </a:lvl1pPr>
          </a:lstStyle>
          <a:p>
            <a:pPr>
              <a:defRPr/>
            </a:pPr>
            <a:fld id="{5DC1EF62-428B-4A55-8A49-29D4D214BF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263642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74675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905001"/>
            <a:ext cx="8172450" cy="2593975"/>
          </a:xfrm>
        </p:spPr>
        <p:txBody>
          <a:bodyPr anchor="b"/>
          <a:lstStyle>
            <a:lvl1pPr>
              <a:defRPr sz="6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2950" y="4572000"/>
            <a:ext cx="700024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1898650" cy="5851525"/>
          </a:xfrm>
        </p:spPr>
        <p:txBody>
          <a:bodyPr vert="eaVert" anchor="b" anchorCtr="0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5486400"/>
            <a:ext cx="8297994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3852863"/>
            <a:ext cx="6646994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536192"/>
            <a:ext cx="39624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87900" y="1536192"/>
            <a:ext cx="39624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39624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39624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87900" y="1535113"/>
            <a:ext cx="39624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87900" y="2174875"/>
            <a:ext cx="39624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1" y="5495544"/>
            <a:ext cx="84201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30199" y="6096000"/>
            <a:ext cx="84201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0200" y="381000"/>
            <a:ext cx="8420100" cy="494284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98" y="5495278"/>
            <a:ext cx="84201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916305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26898" y="6096000"/>
            <a:ext cx="84201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255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255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63050" y="0"/>
            <a:ext cx="74295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163050" y="5486400"/>
            <a:ext cx="74295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2770" y="5648960"/>
            <a:ext cx="59436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8317790" y="4033520"/>
            <a:ext cx="2367281" cy="39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ru-RU" smtClean="0"/>
              <a:t>Слайд №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8282231" y="1630680"/>
            <a:ext cx="2438399" cy="396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F6385F8-3910-43C4-A054-1DACB998716F}" type="datetime1">
              <a:rPr lang="ru-RU" smtClean="0"/>
              <a:t>29.06.2022</a:t>
            </a:fld>
            <a:endParaRPr lang="ru-RU" dirty="0"/>
          </a:p>
        </p:txBody>
      </p:sp>
      <p:graphicFrame>
        <p:nvGraphicFramePr>
          <p:cNvPr id="9" name="Объект 8" hidden="1">
            <a:extLst>
              <a:ext uri="{FF2B5EF4-FFF2-40B4-BE49-F238E27FC236}">
                <a16:creationId xmlns=""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86712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9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>
            <a:extLst>
              <a:ext uri="{FF2B5EF4-FFF2-40B4-BE49-F238E27FC236}">
                <a16:creationId xmlns=""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ransition>
    <p:cut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image" Target="../media/image17.png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diagramColors" Target="../diagrams/colors1.xml"/><Relationship Id="rId18" Type="http://schemas.openxmlformats.org/officeDocument/2006/relationships/image" Target="../media/image9.jpe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12" Type="http://schemas.openxmlformats.org/officeDocument/2006/relationships/diagramQuickStyle" Target="../diagrams/quickStyle1.xml"/><Relationship Id="rId17" Type="http://schemas.openxmlformats.org/officeDocument/2006/relationships/image" Target="../media/image8.jpeg"/><Relationship Id="rId2" Type="http://schemas.openxmlformats.org/officeDocument/2006/relationships/tags" Target="../tags/tag8.xml"/><Relationship Id="rId16" Type="http://schemas.openxmlformats.org/officeDocument/2006/relationships/image" Target="../media/image7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11" Type="http://schemas.openxmlformats.org/officeDocument/2006/relationships/diagramLayout" Target="../diagrams/layout1.xm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6.jpeg"/><Relationship Id="rId10" Type="http://schemas.openxmlformats.org/officeDocument/2006/relationships/diagramData" Target="../diagrams/data1.xml"/><Relationship Id="rId19" Type="http://schemas.openxmlformats.org/officeDocument/2006/relationships/image" Target="../media/image10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Relationship Id="rId14" Type="http://schemas.microsoft.com/office/2007/relationships/diagramDrawing" Target="../diagrams/drawin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3.jpe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2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diagramColors" Target="../diagrams/colors2.xml"/><Relationship Id="rId3" Type="http://schemas.openxmlformats.org/officeDocument/2006/relationships/tags" Target="../tags/tag21.xml"/><Relationship Id="rId7" Type="http://schemas.openxmlformats.org/officeDocument/2006/relationships/oleObject" Target="../embeddings/oleObject10.bin"/><Relationship Id="rId12" Type="http://schemas.openxmlformats.org/officeDocument/2006/relationships/diagramQuickStyle" Target="../diagrams/quickStyle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4.jpeg"/><Relationship Id="rId11" Type="http://schemas.openxmlformats.org/officeDocument/2006/relationships/diagramLayout" Target="../diagrams/layout2.xml"/><Relationship Id="rId5" Type="http://schemas.openxmlformats.org/officeDocument/2006/relationships/notesSlide" Target="../notesSlides/notesSlide9.xml"/><Relationship Id="rId10" Type="http://schemas.openxmlformats.org/officeDocument/2006/relationships/diagramData" Target="../diagrams/data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.png"/><Relationship Id="rId14" Type="http://schemas.microsoft.com/office/2007/relationships/diagramDrawing" Target="../diagrams/drawing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9FBD7EB6-6836-4930-BBEE-6F52CA87AE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010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9FBD7EB6-6836-4930-BBEE-6F52CA87A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FC32112C-6258-4DAD-963F-B0D13D7ECCB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  <a:sym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1113" y="1690688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b="0" dirty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944888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7" name="Заголовок 1"/>
          <p:cNvSpPr>
            <a:spLocks/>
          </p:cNvSpPr>
          <p:nvPr/>
        </p:nvSpPr>
        <p:spPr bwMode="auto">
          <a:xfrm>
            <a:off x="11113" y="180975"/>
            <a:ext cx="9190359" cy="13038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endParaRPr lang="ru-RU" sz="1800" dirty="0">
              <a:latin typeface="Cambria" pitchFamily="18" charset="0"/>
            </a:endParaRPr>
          </a:p>
          <a:p>
            <a:pPr>
              <a:lnSpc>
                <a:spcPct val="80000"/>
              </a:lnSpc>
            </a:pPr>
            <a:r>
              <a:rPr lang="ru-RU" sz="3200" dirty="0">
                <a:latin typeface="Cambria" pitchFamily="18" charset="0"/>
              </a:rPr>
              <a:t>  РОСТЕХНАДЗОР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0" y="220907"/>
            <a:ext cx="920147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endParaRPr lang="ru-RU" sz="1600" dirty="0">
              <a:latin typeface="Cambria" pitchFamily="18" charset="0"/>
            </a:endParaRP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Сибирское управление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Федеральной службы по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экологическому, технологическому </a:t>
            </a:r>
          </a:p>
          <a:p>
            <a:pPr lvl="0" algn="r">
              <a:lnSpc>
                <a:spcPct val="80000"/>
              </a:lnSpc>
            </a:pPr>
            <a:r>
              <a:rPr lang="ru-RU" sz="1600" dirty="0">
                <a:latin typeface="Cambria" pitchFamily="18" charset="0"/>
              </a:rPr>
              <a:t>и атомному надзору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8735" y="2529677"/>
            <a:ext cx="9144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3600" b="1" dirty="0" smtClean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бличное обсуждение в </a:t>
            </a:r>
            <a:r>
              <a:rPr lang="ru-RU" sz="3600" b="1" dirty="0">
                <a:solidFill>
                  <a:schemeClr val="tx1">
                    <a:lumMod val="9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мках реализации приоритетной   программы «Реформа контрольно-надзорной деятельности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817651" y="6273224"/>
            <a:ext cx="174778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 июня 2022 год</a:t>
            </a:r>
          </a:p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Кемерово</a:t>
            </a:r>
            <a:endParaRPr lang="ru-RU" sz="1600" b="1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blinds dir="vert"/>
      </p:transition>
    </mc:Choice>
    <mc:Fallback xmlns="">
      <p:transition spd="slow" advClick="0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6156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308532" y="761781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</a:t>
            </a:r>
            <a:r>
              <a:rPr kumimoji="0" lang="ru-RU" sz="2000" b="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 АНКЕТЕ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pic>
        <p:nvPicPr>
          <p:cNvPr id="15" name="Picture 3" descr="C:\Users\derksenod\Desktop\Подготовка к публичному меропр - 3\Доклад Веселова\для подготовки\1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953317"/>
            <a:ext cx="4094719" cy="5673680"/>
          </a:xfrm>
          <a:prstGeom prst="rect">
            <a:avLst/>
          </a:prstGeom>
          <a:noFill/>
          <a:ln w="15875">
            <a:solidFill>
              <a:schemeClr val="bg1">
                <a:lumMod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568624" y="5426668"/>
            <a:ext cx="324960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600" dirty="0"/>
              <a:t>discussions</a:t>
            </a:r>
            <a:r>
              <a:rPr lang="en-US" sz="3600" dirty="0" smtClean="0"/>
              <a:t>@</a:t>
            </a:r>
            <a:endParaRPr lang="ru-RU" sz="3600" dirty="0" smtClean="0"/>
          </a:p>
          <a:p>
            <a:r>
              <a:rPr lang="en-US" sz="3600" dirty="0" smtClean="0"/>
              <a:t>gosnadzor42.ru</a:t>
            </a:r>
            <a:endParaRPr lang="ru-RU" sz="3600" dirty="0"/>
          </a:p>
        </p:txBody>
      </p:sp>
      <p:pic>
        <p:nvPicPr>
          <p:cNvPr id="16" name="Picture 2" descr="C:\Users\derksenod\Desktop\Подготовка к публичному меропр - 3\Доклад Веселова\для подготовки\image_image_286562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6753" y="5805264"/>
            <a:ext cx="1331533" cy="116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1" name="Picture 9" descr="https://clipart-best.com/img/email/email-clip-art-4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25" y="5615853"/>
            <a:ext cx="1021472" cy="1011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17907" y="1237541"/>
            <a:ext cx="3296555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Образец </a:t>
            </a:r>
            <a:r>
              <a:rPr lang="ru-RU" sz="2000" b="0" dirty="0">
                <a:latin typeface="Arial Narrow" panose="020B0606020202030204" pitchFamily="34" charset="0"/>
              </a:rPr>
              <a:t>анкеты участника публичного обсуждения размещен </a:t>
            </a:r>
            <a:r>
              <a:rPr lang="ru-RU" sz="2000" b="0" dirty="0" smtClean="0">
                <a:latin typeface="Arial Narrow" panose="020B0606020202030204" pitchFamily="34" charset="0"/>
              </a:rPr>
              <a:t>на </a:t>
            </a:r>
            <a:r>
              <a:rPr lang="ru-RU" sz="2000" b="0" dirty="0">
                <a:latin typeface="Arial Narrow" panose="020B0606020202030204" pitchFamily="34" charset="0"/>
              </a:rPr>
              <a:t>официальном сайте Сибирского управления Ростехнадзора 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11468" y="2866651"/>
            <a:ext cx="45255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 smtClean="0">
                <a:latin typeface="Aharoni" panose="02010803020104030203" pitchFamily="2" charset="-79"/>
                <a:cs typeface="Aharoni" panose="02010803020104030203" pitchFamily="2" charset="-79"/>
              </a:rPr>
              <a:t>http://www.usib.gosnadzor.ru</a:t>
            </a:r>
            <a:endParaRPr lang="ru-RU" sz="2400" dirty="0">
              <a:latin typeface="Arial Black" panose="020B0A04020102020204" pitchFamily="34" charset="0"/>
              <a:cs typeface="Aharoni" panose="02010803020104030203" pitchFamily="2" charset="-79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17907" y="4411005"/>
            <a:ext cx="329655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 smtClean="0">
                <a:latin typeface="Arial Narrow" panose="020B0606020202030204" pitchFamily="34" charset="0"/>
              </a:rPr>
              <a:t>Адрес электронной почты для отправки заполненных анкет участника:</a:t>
            </a:r>
            <a:endParaRPr lang="ru-RU" sz="2000" b="0" dirty="0"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317907" y="3790157"/>
            <a:ext cx="450032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42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2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=""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93336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РАССМАТРИВАЕМЫХ ВОПРОС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99468" y="1556792"/>
            <a:ext cx="761593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latin typeface="Arial Narrow" panose="020B0606020202030204" pitchFamily="34" charset="0"/>
              </a:rPr>
              <a:t>об итогах и проблемах прохождения осенне-зимнего периода 2021-2022 гг</a:t>
            </a:r>
            <a:r>
              <a:rPr lang="ru-RU" sz="2400" dirty="0" smtClean="0">
                <a:latin typeface="Arial Narrow" panose="020B0606020202030204" pitchFamily="34" charset="0"/>
              </a:rPr>
              <a:t>.;</a:t>
            </a:r>
          </a:p>
          <a:p>
            <a:endParaRPr lang="ru-RU" sz="2400" dirty="0">
              <a:latin typeface="Arial Narrow" panose="020B0606020202030204" pitchFamily="34" charset="0"/>
            </a:endParaRPr>
          </a:p>
          <a:p>
            <a:r>
              <a:rPr lang="ru-RU" sz="2400" dirty="0">
                <a:latin typeface="Arial Narrow" panose="020B0606020202030204" pitchFamily="34" charset="0"/>
              </a:rPr>
              <a:t>о причинах неполучения паспортов готовности муниципальными </a:t>
            </a:r>
            <a:r>
              <a:rPr lang="ru-RU" sz="2400" dirty="0" smtClean="0">
                <a:latin typeface="Arial Narrow" panose="020B0606020202030204" pitchFamily="34" charset="0"/>
              </a:rPr>
              <a:t>образованиями;</a:t>
            </a:r>
          </a:p>
          <a:p>
            <a:endParaRPr lang="ru-RU" sz="2400" dirty="0" smtClean="0">
              <a:latin typeface="Arial Narrow" panose="020B0606020202030204" pitchFamily="34" charset="0"/>
            </a:endParaRPr>
          </a:p>
          <a:p>
            <a:r>
              <a:rPr lang="ru-RU" sz="2400" dirty="0">
                <a:latin typeface="Arial Narrow" panose="020B0606020202030204" pitchFamily="34" charset="0"/>
              </a:rPr>
              <a:t>о подготовке к прохождению осенне-зимнего периода 2022-2023 </a:t>
            </a:r>
            <a:r>
              <a:rPr lang="ru-RU" sz="2400" dirty="0" smtClean="0">
                <a:latin typeface="Arial Narrow" panose="020B0606020202030204" pitchFamily="34" charset="0"/>
              </a:rPr>
              <a:t>гг.</a:t>
            </a:r>
          </a:p>
        </p:txBody>
      </p:sp>
      <p:pic>
        <p:nvPicPr>
          <p:cNvPr id="3102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16" y="1412777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729" y="2564904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847" y="3645024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36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3" descr="C:\Users\derksenod\Desktop\Рисунок1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60" y="4448540"/>
            <a:ext cx="3313346" cy="2409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88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6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17080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СИБИРСКОМ УПРАВЛЕНИИ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" y="1320655"/>
            <a:ext cx="912946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рриториальный орган межрегионального уровня, осуществляющий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функции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в установленной сфере деятельности на территориях </a:t>
            </a:r>
            <a:endParaRPr lang="ru-RU" sz="2000" b="0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 </a:t>
            </a:r>
            <a:r>
              <a:rPr lang="ru-RU" sz="2000" b="0" dirty="0"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Российской </a:t>
            </a:r>
            <a:r>
              <a:rPr lang="ru-RU" sz="2000" b="0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Федерации:</a:t>
            </a:r>
            <a:endParaRPr lang="ru-RU" sz="2000" b="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Схема 16"/>
          <p:cNvGraphicFramePr/>
          <p:nvPr>
            <p:extLst>
              <p:ext uri="{D42A27DB-BD31-4B8C-83A1-F6EECF244321}">
                <p14:modId xmlns:p14="http://schemas.microsoft.com/office/powerpoint/2010/main" val="3772135406"/>
              </p:ext>
            </p:extLst>
          </p:nvPr>
        </p:nvGraphicFramePr>
        <p:xfrm>
          <a:off x="-14283" y="2348881"/>
          <a:ext cx="3777192" cy="252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555" y="2724718"/>
            <a:ext cx="6515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latin typeface="Arial Narrow" panose="020B0606020202030204" pitchFamily="34" charset="0"/>
              </a:rPr>
              <a:t>Область</a:t>
            </a:r>
            <a:endParaRPr lang="ru-RU" sz="1000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98" y="3501008"/>
            <a:ext cx="4603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Arial Narrow" panose="020B0606020202030204" pitchFamily="34" charset="0"/>
              </a:rPr>
              <a:t>Край</a:t>
            </a: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37017" y="4224267"/>
            <a:ext cx="76270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Arial Narrow" panose="020B0606020202030204" pitchFamily="34" charset="0"/>
              </a:rPr>
              <a:t>Республика</a:t>
            </a:r>
            <a:endParaRPr lang="ru-RU" sz="900" dirty="0">
              <a:latin typeface="Arial Narrow" panose="020B0606020202030204" pitchFamily="34" charset="0"/>
            </a:endParaRPr>
          </a:p>
        </p:txBody>
      </p:sp>
      <p:pic>
        <p:nvPicPr>
          <p:cNvPr id="23" name="Picture 6" descr="https://s0.rbk.ru/v6_top_pics/resized/1180xH/media/img/6/20/755785577973206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4888" y="4894115"/>
            <a:ext cx="2658771" cy="1518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700" y="2700582"/>
            <a:ext cx="1886109" cy="1006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 descr="C:\Users\derksenod\Desktop\РАЗНОЕ\2017г\ПУБЛИЧНЫЕ\Подготовка к публичному меропр - 2\9. Презентация Управления\Для создания презентации\48628190b0d050e5a03002dba3745274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4700" y="5398780"/>
            <a:ext cx="1678271" cy="1033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0" name="Прямая соединительная линия 29"/>
          <p:cNvCxnSpPr/>
          <p:nvPr/>
        </p:nvCxnSpPr>
        <p:spPr>
          <a:xfrm>
            <a:off x="3782870" y="4717165"/>
            <a:ext cx="0" cy="1872208"/>
          </a:xfrm>
          <a:prstGeom prst="line">
            <a:avLst/>
          </a:prstGeom>
          <a:ln w="127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39" name="Picture 63" descr="http://www.kolmar.ru/upload/iblock/ab6/ab612306d1c2cd3555e88398f7e9c375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001" y="2492896"/>
            <a:ext cx="3260239" cy="21745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C:\Users\derksenod\Desktop\РАЗНОЕ\2017г\ПУБЛИЧНЫЕ\Подготовка к публичному меропр - 2\9. Презентация Управления\Для создания презентации\Красивые фото\Алтай, котло\DJI_0658_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208" y="3933056"/>
            <a:ext cx="1962671" cy="1357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029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71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ОДНАДЗОРНЫХ ОБЪЕКТА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864768" y="1294770"/>
            <a:ext cx="63001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бирскому </a:t>
            </a:r>
            <a:r>
              <a:rPr lang="ru-RU" sz="2000" b="0" dirty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управлению </a:t>
            </a:r>
            <a:r>
              <a:rPr lang="ru-RU" sz="2000" b="0" dirty="0" smtClean="0">
                <a:solidFill>
                  <a:schemeClr val="tx1">
                    <a:lumMod val="95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остехнадзора поднадзорно: </a:t>
            </a:r>
            <a:endParaRPr lang="ru-RU" sz="2000" b="0" dirty="0">
              <a:solidFill>
                <a:schemeClr val="tx1">
                  <a:lumMod val="95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23556" y="2016264"/>
            <a:ext cx="5182616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● 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87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, осуществляющих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еятельность в области промышленно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езопасности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030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пасных производствен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9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танций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1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сетевых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7 </a:t>
            </a:r>
            <a:r>
              <a:rPr lang="ru-RU" sz="1400" b="1" i="1" dirty="0" err="1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еплосетевых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организаци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21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линий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электропередач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более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6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котельных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около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6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яч километров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теплов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етей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365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объектов капитального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строительства;</a:t>
            </a:r>
          </a:p>
          <a:p>
            <a:endParaRPr lang="ru-RU" sz="800" b="1" dirty="0" smtClean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● </a:t>
            </a:r>
            <a:r>
              <a:rPr lang="ru-RU" sz="14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  </a:t>
            </a:r>
            <a:r>
              <a:rPr lang="ru-RU" sz="1400" b="1" u="sng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18 </a:t>
            </a:r>
            <a:r>
              <a:rPr lang="ru-RU" sz="1400" b="1" u="sng" dirty="0">
                <a:latin typeface="Arial Narrow" panose="020B0606020202030204" pitchFamily="34" charset="0"/>
                <a:cs typeface="Times New Roman" panose="02020603050405020304" pitchFamily="18" charset="0"/>
              </a:rPr>
              <a:t>тыс. км</a:t>
            </a:r>
            <a:r>
              <a:rPr lang="ru-RU" sz="14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1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магистральных </a:t>
            </a:r>
            <a:r>
              <a:rPr lang="ru-RU" sz="1400" b="1" i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трубопроводов.</a:t>
            </a:r>
            <a:endParaRPr lang="ru-RU" sz="1400" b="1" i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6675963"/>
              </p:ext>
            </p:extLst>
          </p:nvPr>
        </p:nvGraphicFramePr>
        <p:xfrm>
          <a:off x="3601172" y="5678805"/>
          <a:ext cx="5184776" cy="1116330"/>
        </p:xfrm>
        <a:graphic>
          <a:graphicData uri="http://schemas.openxmlformats.org/drawingml/2006/table">
            <a:tbl>
              <a:tblPr firstRow="1" bandRow="1"/>
              <a:tblGrid>
                <a:gridCol w="1380800"/>
                <a:gridCol w="1284144"/>
                <a:gridCol w="1223688"/>
                <a:gridCol w="1296144"/>
              </a:tblGrid>
              <a:tr h="7048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 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чрезвычайно опасные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высо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II </a:t>
                      </a:r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средне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IV </a:t>
                      </a:r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класс – низкой опасности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89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198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028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4"/>
                    </a:solidFill>
                  </a:tcPr>
                </a:tc>
              </a:tr>
            </a:tbl>
          </a:graphicData>
        </a:graphic>
      </p:graphicFrame>
      <p:pic>
        <p:nvPicPr>
          <p:cNvPr id="25663" name="Picture 63" descr="https://vsednr.ru/wp-content/uploads/2021/04/ochistnoy-zaboy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1233214"/>
            <a:ext cx="2758789" cy="183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665" name="Picture 65" descr="https://img-fotki.yandex.ru/get/6814/51604349.144/0_bf9ba_64df8e6c_orig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66" y="3060155"/>
            <a:ext cx="2758789" cy="205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derksenod\Desktop\РАЗНОЕ\2017г\ПУБЛИЧНЫЕ\Подготовка к публичному меропр - 2\9. Презентация Управления\Для создания презентации\14i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6" y="5133086"/>
            <a:ext cx="2782602" cy="1577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382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462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Б ОСНОВНЫХ ПОКАЗАТЕЛ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4391002"/>
              </p:ext>
            </p:extLst>
          </p:nvPr>
        </p:nvGraphicFramePr>
        <p:xfrm>
          <a:off x="268625" y="1484784"/>
          <a:ext cx="8788831" cy="4987947"/>
        </p:xfrm>
        <a:graphic>
          <a:graphicData uri="http://schemas.openxmlformats.org/drawingml/2006/table">
            <a:tbl>
              <a:tblPr/>
              <a:tblGrid>
                <a:gridCol w="435903"/>
                <a:gridCol w="4464496"/>
                <a:gridCol w="1152128"/>
                <a:gridCol w="1026791"/>
                <a:gridCol w="1001811"/>
                <a:gridCol w="707702"/>
              </a:tblGrid>
              <a:tr h="323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ей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 мес. 2021 г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 мес. 2022 г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± 2021/2022 гг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±  %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38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1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68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5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7,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37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ч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1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4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6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,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</a:tr>
              <a:tr h="32371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выявленных нарушений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02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19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582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4,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37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ч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17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4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42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</a:tr>
              <a:tr h="4099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административных наказаний, в том числе: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7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4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3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1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874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й штраф, кол-во наложенных штрафов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1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9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42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37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ч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2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8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4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</a:tr>
              <a:tr h="323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штрафов (тыс. руб.)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4727,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4723,7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996,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3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штрафов (тыс. руб.)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558,65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068,74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10,09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874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ое приостановление деятельности 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9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2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37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ч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7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-3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</a:tr>
              <a:tr h="24031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я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37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 т.ч. на предприятиях угольной отрасли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</a:tr>
              <a:tr h="2120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е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8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76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18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20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надзорной деятельности по видам надзора</a:t>
            </a:r>
            <a:endParaRPr kumimoji="0" lang="ru-RU" sz="20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4559341"/>
              </p:ext>
            </p:extLst>
          </p:nvPr>
        </p:nvGraphicFramePr>
        <p:xfrm>
          <a:off x="268625" y="1484784"/>
          <a:ext cx="8788830" cy="4984996"/>
        </p:xfrm>
        <a:graphic>
          <a:graphicData uri="http://schemas.openxmlformats.org/drawingml/2006/table">
            <a:tbl>
              <a:tblPr/>
              <a:tblGrid>
                <a:gridCol w="559721"/>
                <a:gridCol w="3328629"/>
                <a:gridCol w="1756776"/>
                <a:gridCol w="1664314"/>
                <a:gridCol w="1479390"/>
              </a:tblGrid>
              <a:tr h="7707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ей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осударственный энергетический 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осударственный строительный надзо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дзор за гидротехническими сооружениями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5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6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91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5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10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61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5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291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5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6</a:t>
                      </a:r>
                    </a:p>
                  </a:txBody>
                  <a:tcPr marL="7068" marR="7068" marT="706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</a:t>
                      </a:r>
                      <a:r>
                        <a:rPr lang="ru-RU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ыс.рублей</a:t>
                      </a:r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97,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4461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10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03802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Краткая статистика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оказателей </a:t>
            </a:r>
            <a:r>
              <a:rPr lang="ru-RU" sz="1600" b="0" u="sng" kern="0" cap="all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При </a:t>
            </a:r>
            <a:r>
              <a:rPr lang="ru-RU" sz="1600" b="0" u="sng" kern="0" cap="all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существлении государственного надзора в сфере промышленной безопасности</a:t>
            </a:r>
            <a:endParaRPr kumimoji="0" lang="ru-RU" sz="1600" b="0" i="0" u="sng" strike="noStrike" kern="0" cap="all" spc="0" normalizeH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566021"/>
              </p:ext>
            </p:extLst>
          </p:nvPr>
        </p:nvGraphicFramePr>
        <p:xfrm>
          <a:off x="307974" y="1484785"/>
          <a:ext cx="8749479" cy="4629564"/>
        </p:xfrm>
        <a:graphic>
          <a:graphicData uri="http://schemas.openxmlformats.org/drawingml/2006/table">
            <a:tbl>
              <a:tblPr/>
              <a:tblGrid>
                <a:gridCol w="373880"/>
                <a:gridCol w="1543814"/>
                <a:gridCol w="617519"/>
                <a:gridCol w="500268"/>
                <a:gridCol w="500268"/>
                <a:gridCol w="351751"/>
                <a:gridCol w="364779"/>
                <a:gridCol w="367384"/>
                <a:gridCol w="375201"/>
                <a:gridCol w="375201"/>
                <a:gridCol w="333512"/>
                <a:gridCol w="333512"/>
                <a:gridCol w="375201"/>
                <a:gridCol w="375201"/>
                <a:gridCol w="385623"/>
                <a:gridCol w="383018"/>
                <a:gridCol w="427313"/>
                <a:gridCol w="429917"/>
                <a:gridCol w="336117"/>
              </a:tblGrid>
              <a:tr h="27692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 п/п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 показателя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сего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16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о видам надзора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79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Д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Р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Х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Г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ПК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3771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проверок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55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выявленных наруше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3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ее количество административных наказа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65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1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исквалификац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02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2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ПД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585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3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редупреждений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30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.4.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дминистративных штрафов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наложенных административных штрафов (тыс.рублей)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243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8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0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4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31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взысканных административных штрафов (тыс.рублей)</a:t>
                      </a:r>
                    </a:p>
                  </a:txBody>
                  <a:tcPr marL="8255" marR="8255" marT="825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9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3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6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9020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xmlns="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231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7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xmlns="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980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Об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аварийности и </a:t>
            </a:r>
            <a:r>
              <a:rPr lang="ru-RU" sz="2000" b="0" u="sng" kern="0" dirty="0" smtClean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травматизме </a:t>
            </a:r>
            <a:r>
              <a:rPr lang="ru-RU" sz="2000" b="0" u="sng" kern="0" dirty="0">
                <a:solidFill>
                  <a:sysClr val="windowText" lastClr="000000"/>
                </a:solidFill>
                <a:cs typeface="Times New Roman" panose="02020603050405020304" pitchFamily="18" charset="0"/>
              </a:rPr>
              <a:t>на поднадзорных предприят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60512" y="1340768"/>
            <a:ext cx="8536227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0" dirty="0"/>
              <a:t>Несчастные случаи за 3 месяца 2022 г.: </a:t>
            </a:r>
          </a:p>
          <a:p>
            <a:r>
              <a:rPr lang="ru-RU" sz="1600" b="0" dirty="0"/>
              <a:t>1. 22.01.2022 - ООО </a:t>
            </a:r>
            <a:r>
              <a:rPr lang="ru-RU" sz="1600" b="0" dirty="0" smtClean="0"/>
              <a:t>«Шахта «</a:t>
            </a:r>
            <a:r>
              <a:rPr lang="ru-RU" sz="1600" b="0" dirty="0" err="1" smtClean="0"/>
              <a:t>Осинниковская</a:t>
            </a:r>
            <a:r>
              <a:rPr lang="ru-RU" sz="1600" b="0" dirty="0" smtClean="0"/>
              <a:t>», Кемеровская область, </a:t>
            </a:r>
            <a:r>
              <a:rPr lang="ru-RU" sz="1600" b="0" dirty="0"/>
              <a:t>г. Осинники, удар козырьком секции механизированной крепи - 1 </a:t>
            </a:r>
            <a:r>
              <a:rPr lang="ru-RU" sz="1600" b="0" dirty="0" smtClean="0"/>
              <a:t>смертельный;</a:t>
            </a:r>
          </a:p>
          <a:p>
            <a:endParaRPr lang="ru-RU" sz="1600" b="0" dirty="0"/>
          </a:p>
          <a:p>
            <a:r>
              <a:rPr lang="ru-RU" sz="1600" b="0" dirty="0"/>
              <a:t>2. 10.03.2022 – АО «ЕВРАЗ ЗСМК», </a:t>
            </a:r>
            <a:r>
              <a:rPr lang="ru-RU" sz="1600" b="0" dirty="0" smtClean="0"/>
              <a:t>Кемеровская область, </a:t>
            </a:r>
            <a:r>
              <a:rPr lang="ru-RU" sz="1600" b="0" dirty="0"/>
              <a:t>г. Новокузнецк, прижимание электровозом к колонне -1 </a:t>
            </a:r>
            <a:r>
              <a:rPr lang="ru-RU" sz="1600" b="0" dirty="0" smtClean="0"/>
              <a:t>смертельный</a:t>
            </a:r>
            <a:r>
              <a:rPr lang="ru-RU" sz="1600" b="0" dirty="0"/>
              <a:t>;</a:t>
            </a:r>
            <a:endParaRPr lang="ru-RU" sz="1600" b="0" dirty="0" smtClean="0"/>
          </a:p>
          <a:p>
            <a:endParaRPr lang="ru-RU" sz="1600" b="0" dirty="0"/>
          </a:p>
          <a:p>
            <a:r>
              <a:rPr lang="ru-RU" sz="1600" b="0" dirty="0"/>
              <a:t>3. 24.03.2022 - ООО </a:t>
            </a:r>
            <a:r>
              <a:rPr lang="ru-RU" sz="1600" b="0" dirty="0" smtClean="0"/>
              <a:t>«Шахта «</a:t>
            </a:r>
            <a:r>
              <a:rPr lang="ru-RU" sz="1600" b="0" dirty="0" err="1" smtClean="0"/>
              <a:t>Осинниковская</a:t>
            </a:r>
            <a:r>
              <a:rPr lang="ru-RU" sz="1600" b="0" dirty="0" smtClean="0"/>
              <a:t>», Кемеровская область, </a:t>
            </a:r>
            <a:r>
              <a:rPr lang="ru-RU" sz="1600" b="0" dirty="0"/>
              <a:t>г. Осинники, выдавливание угля с повышенным выделением метана - 1 смертельный.</a:t>
            </a:r>
          </a:p>
          <a:p>
            <a:endParaRPr lang="ru-RU" sz="1600" b="0" dirty="0" smtClean="0"/>
          </a:p>
          <a:p>
            <a:endParaRPr lang="ru-RU" sz="1600" b="0" dirty="0" smtClean="0"/>
          </a:p>
          <a:p>
            <a:r>
              <a:rPr lang="ru-RU" sz="2000" b="0" dirty="0" smtClean="0"/>
              <a:t>Аварии </a:t>
            </a:r>
            <a:r>
              <a:rPr lang="ru-RU" sz="2000" b="0" dirty="0"/>
              <a:t>за 3 месяца 2022 г.:</a:t>
            </a:r>
          </a:p>
          <a:p>
            <a:pPr marL="342900" indent="-342900">
              <a:buAutoNum type="arabicPeriod"/>
            </a:pPr>
            <a:r>
              <a:rPr lang="ru-RU" sz="1600" b="0" dirty="0" smtClean="0"/>
              <a:t>18.02.2022 </a:t>
            </a:r>
            <a:r>
              <a:rPr lang="ru-RU" sz="1600" b="0" dirty="0"/>
              <a:t>– АО  «РУСАЛ», Новокузнецкий Алюминиевый завод, </a:t>
            </a:r>
            <a:r>
              <a:rPr lang="ru-RU" sz="1600" b="0" dirty="0" smtClean="0"/>
              <a:t>Кемеровская область, </a:t>
            </a:r>
          </a:p>
          <a:p>
            <a:r>
              <a:rPr lang="ru-RU" sz="1600" b="0" dirty="0" smtClean="0"/>
              <a:t>г</a:t>
            </a:r>
            <a:r>
              <a:rPr lang="ru-RU" sz="1600" b="0" dirty="0"/>
              <a:t>. Новокузнецк, обесточена нагрузка величиной 146 МВт, пострадавших нет.</a:t>
            </a:r>
          </a:p>
          <a:p>
            <a:endParaRPr lang="ru-RU" sz="1600" b="0" dirty="0"/>
          </a:p>
        </p:txBody>
      </p:sp>
    </p:spTree>
    <p:extLst>
      <p:ext uri="{BB962C8B-B14F-4D97-AF65-F5344CB8AC3E}">
        <p14:creationId xmlns:p14="http://schemas.microsoft.com/office/powerpoint/2010/main" val="82155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9" name="Picture 15" descr="https://wolfsdorf.com/wp-content/uploads/2020/05/shutterstock_524856742-1-min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3186" y="770635"/>
            <a:ext cx="9157185" cy="6104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8083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83" name="Слайд think-cell" r:id="rId7" imgW="443" imgH="443" progId="TCLayout.ActiveDocument.1">
                  <p:embed/>
                </p:oleObj>
              </mc:Choice>
              <mc:Fallback>
                <p:oleObj name="Слайд think-cell" r:id="rId7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=""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6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uLnTx/>
                    <a:uFillTx/>
                    <a:latin typeface="Arial" charset="0"/>
                    <a:cs typeface="Arial" charset="0"/>
                  </a:rPr>
                  <a:t>РОСТЕХНАДЗОР</a:t>
                </a:r>
                <a:endPara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=""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F814217-A692-4320-9F69-D25E0A5EB74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632520" y="813364"/>
            <a:ext cx="52565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uLnTx/>
                <a:uFillTx/>
                <a:cs typeface="Times New Roman" panose="02020603050405020304" pitchFamily="18" charset="0"/>
              </a:rPr>
              <a:t>О ПУБЛИЧНЫХ ОБСУЖДЕНИЯХ</a:t>
            </a:r>
            <a:endParaRPr kumimoji="0" lang="ru-RU" sz="2000" b="0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uLnTx/>
              <a:uFillTx/>
              <a:cs typeface="Times New Roman" panose="02020603050405020304" pitchFamily="18" charset="0"/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460035110"/>
              </p:ext>
            </p:extLst>
          </p:nvPr>
        </p:nvGraphicFramePr>
        <p:xfrm>
          <a:off x="466630" y="1294088"/>
          <a:ext cx="6573990" cy="50872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7" name="Прямоугольник 16"/>
          <p:cNvSpPr/>
          <p:nvPr/>
        </p:nvSpPr>
        <p:spPr>
          <a:xfrm rot="17797043">
            <a:off x="57722" y="3593029"/>
            <a:ext cx="46069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чные обсуждения</a:t>
            </a:r>
            <a:endParaRPr lang="ru-RU" sz="3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05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LqmGzrGkH73bDjSlMO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седство">
  <a:themeElements>
    <a:clrScheme name="Соседство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Стандартная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оседство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djacency</Template>
  <TotalTime>20435</TotalTime>
  <Words>919</Words>
  <Application>Microsoft Office PowerPoint</Application>
  <PresentationFormat>Лист A4 (210x297 мм)</PresentationFormat>
  <Paragraphs>427</Paragraphs>
  <Slides>1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Соседство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.Tukay</dc:creator>
  <cp:lastModifiedBy>Дерксен Ольга Дмитриевна</cp:lastModifiedBy>
  <cp:revision>1196</cp:revision>
  <cp:lastPrinted>2020-12-16T06:16:08Z</cp:lastPrinted>
  <dcterms:created xsi:type="dcterms:W3CDTF">2012-04-16T06:44:06Z</dcterms:created>
  <dcterms:modified xsi:type="dcterms:W3CDTF">2022-06-29T06:34:20Z</dcterms:modified>
</cp:coreProperties>
</file>